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1773" r:id="rId5"/>
  </p:sldIdLst>
  <p:sldSz cx="9144000" cy="6858000" type="screen4x3"/>
  <p:notesSz cx="6858000" cy="9144000"/>
  <p:custDataLst>
    <p:tags r:id="rId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ECE3EE9-B6D5-471E-ABB5-47631C19EF40}">
          <p14:sldIdLst>
            <p14:sldId id="17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CC0C4"/>
    <a:srgbClr val="CBCFD4"/>
    <a:srgbClr val="CCCED6"/>
    <a:srgbClr val="C8CAD2"/>
    <a:srgbClr val="000000"/>
    <a:srgbClr val="DADBDC"/>
    <a:srgbClr val="E0DC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3D442C-51EC-475F-9F85-95D730766215}" v="5" dt="2020-08-04T13:40:28.7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Stijl, gemiddeld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Stijl, thema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Stijl, licht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Stijl, gemiddeld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Stijl, licht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Stijl, gemiddeld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Stijl, donker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Stijl, licht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Stijl, thema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C083E6E3-FA7D-4D7B-A595-EF9225AFEA82}" styleName="Stijl, licht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46F890A9-2807-4EBB-B81D-B2AA78EC7F39}" styleName="Stijl, donker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E3FDE45-AF77-4B5C-9715-49D594BDF05E}" styleName="Stijl, licht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>
        <p:scale>
          <a:sx n="80" d="100"/>
          <a:sy n="80" d="100"/>
        </p:scale>
        <p:origin x="389" y="1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-3144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me, Lyall" userId="957dc83a-5ae8-44aa-b99d-71cf3e85e3f9" providerId="ADAL" clId="{FEB78A3E-1B09-49AC-B2EF-79B1F6964546}"/>
    <pc:docChg chg="custSel modSld delSection">
      <pc:chgData name="Syme, Lyall" userId="957dc83a-5ae8-44aa-b99d-71cf3e85e3f9" providerId="ADAL" clId="{FEB78A3E-1B09-49AC-B2EF-79B1F6964546}" dt="2020-08-04T13:41:04.583" v="307" actId="20577"/>
      <pc:docMkLst>
        <pc:docMk/>
      </pc:docMkLst>
      <pc:sldChg chg="addSp delSp modSp">
        <pc:chgData name="Syme, Lyall" userId="957dc83a-5ae8-44aa-b99d-71cf3e85e3f9" providerId="ADAL" clId="{FEB78A3E-1B09-49AC-B2EF-79B1F6964546}" dt="2020-08-04T13:41:04.583" v="307" actId="20577"/>
        <pc:sldMkLst>
          <pc:docMk/>
          <pc:sldMk cId="2219345632" sldId="1773"/>
        </pc:sldMkLst>
        <pc:spChg chg="del mod">
          <ac:chgData name="Syme, Lyall" userId="957dc83a-5ae8-44aa-b99d-71cf3e85e3f9" providerId="ADAL" clId="{FEB78A3E-1B09-49AC-B2EF-79B1F6964546}" dt="2020-08-04T13:37:51.884" v="303" actId="478"/>
          <ac:spMkLst>
            <pc:docMk/>
            <pc:sldMk cId="2219345632" sldId="1773"/>
            <ac:spMk id="3" creationId="{00000000-0000-0000-0000-000000000000}"/>
          </ac:spMkLst>
        </pc:spChg>
        <pc:spChg chg="add del mod">
          <ac:chgData name="Syme, Lyall" userId="957dc83a-5ae8-44aa-b99d-71cf3e85e3f9" providerId="ADAL" clId="{FEB78A3E-1B09-49AC-B2EF-79B1F6964546}" dt="2020-08-04T13:40:28.798" v="305"/>
          <ac:spMkLst>
            <pc:docMk/>
            <pc:sldMk cId="2219345632" sldId="1773"/>
            <ac:spMk id="4" creationId="{E7DACA84-6781-4DEE-8186-53E5AE7F0588}"/>
          </ac:spMkLst>
        </pc:spChg>
        <pc:spChg chg="add del mod">
          <ac:chgData name="Syme, Lyall" userId="957dc83a-5ae8-44aa-b99d-71cf3e85e3f9" providerId="ADAL" clId="{FEB78A3E-1B09-49AC-B2EF-79B1F6964546}" dt="2020-08-04T13:34:45.464" v="202"/>
          <ac:spMkLst>
            <pc:docMk/>
            <pc:sldMk cId="2219345632" sldId="1773"/>
            <ac:spMk id="5" creationId="{00000000-0000-0000-0000-000000000000}"/>
          </ac:spMkLst>
        </pc:spChg>
        <pc:spChg chg="mod">
          <ac:chgData name="Syme, Lyall" userId="957dc83a-5ae8-44aa-b99d-71cf3e85e3f9" providerId="ADAL" clId="{FEB78A3E-1B09-49AC-B2EF-79B1F6964546}" dt="2020-08-04T13:34:57.230" v="221" actId="20577"/>
          <ac:spMkLst>
            <pc:docMk/>
            <pc:sldMk cId="2219345632" sldId="1773"/>
            <ac:spMk id="19" creationId="{00000000-0000-0000-0000-000000000000}"/>
          </ac:spMkLst>
        </pc:spChg>
        <pc:spChg chg="mod">
          <ac:chgData name="Syme, Lyall" userId="957dc83a-5ae8-44aa-b99d-71cf3e85e3f9" providerId="ADAL" clId="{FEB78A3E-1B09-49AC-B2EF-79B1F6964546}" dt="2020-08-04T13:35:50.215" v="260" actId="20577"/>
          <ac:spMkLst>
            <pc:docMk/>
            <pc:sldMk cId="2219345632" sldId="1773"/>
            <ac:spMk id="43" creationId="{793BE055-226B-4119-AC2D-36CEA85C4100}"/>
          </ac:spMkLst>
        </pc:spChg>
        <pc:spChg chg="mod">
          <ac:chgData name="Syme, Lyall" userId="957dc83a-5ae8-44aa-b99d-71cf3e85e3f9" providerId="ADAL" clId="{FEB78A3E-1B09-49AC-B2EF-79B1F6964546}" dt="2020-08-04T13:41:04.583" v="307" actId="20577"/>
          <ac:spMkLst>
            <pc:docMk/>
            <pc:sldMk cId="2219345632" sldId="1773"/>
            <ac:spMk id="44" creationId="{626F8A67-B2C2-4A4F-95C4-21FCFE2B41C4}"/>
          </ac:spMkLst>
        </pc:spChg>
        <pc:spChg chg="mod">
          <ac:chgData name="Syme, Lyall" userId="957dc83a-5ae8-44aa-b99d-71cf3e85e3f9" providerId="ADAL" clId="{FEB78A3E-1B09-49AC-B2EF-79B1F6964546}" dt="2020-08-04T13:37:11.255" v="301" actId="20577"/>
          <ac:spMkLst>
            <pc:docMk/>
            <pc:sldMk cId="2219345632" sldId="1773"/>
            <ac:spMk id="47" creationId="{CC9C2436-BF8B-4F3F-8AEE-06F4F8DB14F5}"/>
          </ac:spMkLst>
        </pc:spChg>
        <pc:spChg chg="mod">
          <ac:chgData name="Syme, Lyall" userId="957dc83a-5ae8-44aa-b99d-71cf3e85e3f9" providerId="ADAL" clId="{FEB78A3E-1B09-49AC-B2EF-79B1F6964546}" dt="2020-08-04T13:36:10.789" v="296" actId="20577"/>
          <ac:spMkLst>
            <pc:docMk/>
            <pc:sldMk cId="2219345632" sldId="1773"/>
            <ac:spMk id="49" creationId="{891AE55D-DD21-4968-A048-18E0AA584B39}"/>
          </ac:spMkLst>
        </pc:spChg>
        <pc:cxnChg chg="mod">
          <ac:chgData name="Syme, Lyall" userId="957dc83a-5ae8-44aa-b99d-71cf3e85e3f9" providerId="ADAL" clId="{FEB78A3E-1B09-49AC-B2EF-79B1F6964546}" dt="2020-08-04T13:34:03.030" v="133" actId="20577"/>
          <ac:cxnSpMkLst>
            <pc:docMk/>
            <pc:sldMk cId="2219345632" sldId="1773"/>
            <ac:cxnSpMk id="13" creationId="{0CB05BF3-950C-4B7D-8381-54D1E462B2F7}"/>
          </ac:cxnSpMkLst>
        </pc:cxnChg>
        <pc:cxnChg chg="mod">
          <ac:chgData name="Syme, Lyall" userId="957dc83a-5ae8-44aa-b99d-71cf3e85e3f9" providerId="ADAL" clId="{FEB78A3E-1B09-49AC-B2EF-79B1F6964546}" dt="2020-08-04T13:33:19.425" v="56" actId="20577"/>
          <ac:cxnSpMkLst>
            <pc:docMk/>
            <pc:sldMk cId="2219345632" sldId="1773"/>
            <ac:cxnSpMk id="35" creationId="{F361EBBC-FA84-4441-9415-FCAC9680CC61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A8D8CF-971A-42A1-924E-AF0559BB7778}" type="datetimeFigureOut">
              <a:rPr lang="nl-NL" smtClean="0"/>
              <a:pPr/>
              <a:t>4-8-2020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1A8912-C850-437D-8762-E78E39614319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26862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D1E71-135D-4436-ACB1-D9FCFEB60C63}" type="datetimeFigureOut">
              <a:rPr lang="en-US" smtClean="0"/>
              <a:pPr/>
              <a:t>8/4/2020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911E23-5E08-44A2-B5F0-2402F0DB9B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3475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hthoek 52"/>
          <p:cNvSpPr/>
          <p:nvPr userDrawn="1"/>
        </p:nvSpPr>
        <p:spPr>
          <a:xfrm>
            <a:off x="0" y="-16047"/>
            <a:ext cx="9144000" cy="2112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kstvak 7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chemeClr val="tx2"/>
                </a:solidFill>
              </a:rPr>
              <a:t>Title-slide</a:t>
            </a:r>
          </a:p>
        </p:txBody>
      </p:sp>
      <p:sp>
        <p:nvSpPr>
          <p:cNvPr id="52" name="Tijdelijke aanduiding voor afbeelding 5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0160"/>
            <a:ext cx="9144001" cy="6878321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1500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14" hasCustomPrompt="1"/>
          </p:nvPr>
        </p:nvSpPr>
        <p:spPr>
          <a:xfrm>
            <a:off x="410884" y="2456418"/>
            <a:ext cx="8311291" cy="375952"/>
          </a:xfrm>
        </p:spPr>
        <p:txBody>
          <a:bodyPr rIns="0" bIns="0" anchor="ctr"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Author name</a:t>
            </a:r>
          </a:p>
        </p:txBody>
      </p:sp>
      <p:sp>
        <p:nvSpPr>
          <p:cNvPr id="82" name="Tijdelijke aanduiding voor tekst 71"/>
          <p:cNvSpPr>
            <a:spLocks noGrp="1"/>
          </p:cNvSpPr>
          <p:nvPr>
            <p:ph type="body" sz="quarter" idx="15" hasCustomPrompt="1"/>
          </p:nvPr>
        </p:nvSpPr>
        <p:spPr>
          <a:xfrm>
            <a:off x="410884" y="2894661"/>
            <a:ext cx="8311292" cy="375952"/>
          </a:xfrm>
        </p:spPr>
        <p:txBody>
          <a:bodyPr rIns="0" bIns="0" anchor="b"/>
          <a:lstStyle>
            <a:lvl1pPr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Insert presentation title here</a:t>
            </a:r>
          </a:p>
        </p:txBody>
      </p:sp>
      <p:sp>
        <p:nvSpPr>
          <p:cNvPr id="83" name="Tijdelijke aanduiding voor tekst 71"/>
          <p:cNvSpPr>
            <a:spLocks noGrp="1"/>
          </p:cNvSpPr>
          <p:nvPr>
            <p:ph type="body" sz="quarter" idx="16" hasCustomPrompt="1"/>
          </p:nvPr>
        </p:nvSpPr>
        <p:spPr>
          <a:xfrm>
            <a:off x="410884" y="6154256"/>
            <a:ext cx="8311292" cy="375952"/>
          </a:xfrm>
        </p:spPr>
        <p:txBody>
          <a:bodyPr rIns="0" bIns="0" anchor="ctr"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Together we make the difference</a:t>
            </a:r>
          </a:p>
        </p:txBody>
      </p:sp>
    </p:spTree>
    <p:extLst>
      <p:ext uri="{BB962C8B-B14F-4D97-AF65-F5344CB8AC3E}">
        <p14:creationId xmlns:p14="http://schemas.microsoft.com/office/powerpoint/2010/main" val="853522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hthoek 2"/>
          <p:cNvSpPr/>
          <p:nvPr userDrawn="1"/>
        </p:nvSpPr>
        <p:spPr>
          <a:xfrm>
            <a:off x="415290" y="1166272"/>
            <a:ext cx="8308086" cy="52751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jdelijke aanduiding voor grafiek 3"/>
          <p:cNvSpPr>
            <a:spLocks noGrp="1"/>
          </p:cNvSpPr>
          <p:nvPr>
            <p:ph type="chart" sz="quarter" idx="15" hasCustomPrompt="1"/>
          </p:nvPr>
        </p:nvSpPr>
        <p:spPr>
          <a:xfrm>
            <a:off x="405673" y="1210970"/>
            <a:ext cx="8317703" cy="5252525"/>
          </a:xfrm>
        </p:spPr>
        <p:txBody>
          <a:bodyPr anchor="ctr"/>
          <a:lstStyle>
            <a:lvl1pPr algn="ctr">
              <a:lnSpc>
                <a:spcPct val="15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Graph</a:t>
            </a:r>
          </a:p>
        </p:txBody>
      </p:sp>
      <p:sp>
        <p:nvSpPr>
          <p:cNvPr id="71" name="Tekstvak 70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Graph - slide</a:t>
            </a:r>
          </a:p>
        </p:txBody>
      </p:sp>
    </p:spTree>
    <p:extLst>
      <p:ext uri="{BB962C8B-B14F-4D97-AF65-F5344CB8AC3E}">
        <p14:creationId xmlns:p14="http://schemas.microsoft.com/office/powerpoint/2010/main" val="4135684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graph /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680001" y="1588160"/>
            <a:ext cx="4043375" cy="4853082"/>
          </a:xfrm>
        </p:spPr>
        <p:txBody>
          <a:bodyPr vert="horz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50% text / 50% graph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417600" y="1247265"/>
            <a:ext cx="3980664" cy="5196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jdelijke aanduiding voor grafiek 11"/>
          <p:cNvSpPr>
            <a:spLocks noGrp="1"/>
          </p:cNvSpPr>
          <p:nvPr>
            <p:ph type="chart" sz="quarter" idx="15" hasCustomPrompt="1"/>
          </p:nvPr>
        </p:nvSpPr>
        <p:spPr>
          <a:xfrm>
            <a:off x="405584" y="1210970"/>
            <a:ext cx="4058416" cy="5230273"/>
          </a:xfrm>
        </p:spPr>
        <p:txBody>
          <a:bodyPr anchor="ctr"/>
          <a:lstStyle>
            <a:lvl1pPr algn="ctr">
              <a:lnSpc>
                <a:spcPct val="15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here </a:t>
            </a:r>
            <a:br>
              <a:rPr lang="en-GB" dirty="0"/>
            </a:br>
            <a:r>
              <a:rPr lang="en-GB" dirty="0"/>
              <a:t>to insert</a:t>
            </a:r>
            <a:r>
              <a:rPr lang="en-US" dirty="0"/>
              <a:t> a </a:t>
            </a:r>
            <a:r>
              <a:rPr lang="en-GB" dirty="0"/>
              <a:t>Graph</a:t>
            </a:r>
          </a:p>
        </p:txBody>
      </p:sp>
      <p:grpSp>
        <p:nvGrpSpPr>
          <p:cNvPr id="137" name="Groep 136" hidden="1"/>
          <p:cNvGrpSpPr/>
          <p:nvPr userDrawn="1"/>
        </p:nvGrpSpPr>
        <p:grpSpPr>
          <a:xfrm>
            <a:off x="-1620688" y="-243408"/>
            <a:ext cx="12601400" cy="6684651"/>
            <a:chOff x="-1620688" y="-243408"/>
            <a:chExt cx="12601400" cy="6684651"/>
          </a:xfrm>
        </p:grpSpPr>
        <p:cxnSp>
          <p:nvCxnSpPr>
            <p:cNvPr id="138" name="Rechte verbindingslijn 137"/>
            <p:cNvCxnSpPr/>
            <p:nvPr userDrawn="1"/>
          </p:nvCxnSpPr>
          <p:spPr>
            <a:xfrm>
              <a:off x="415290" y="-243408"/>
              <a:ext cx="0" cy="525658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>
              <a:off x="8723376" y="-243408"/>
              <a:ext cx="0" cy="525658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Rechte verbindingslijn 139"/>
            <p:cNvCxnSpPr/>
            <p:nvPr userDrawn="1"/>
          </p:nvCxnSpPr>
          <p:spPr>
            <a:xfrm>
              <a:off x="-1620688" y="1238491"/>
              <a:ext cx="126014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Rechte verbindingslijn 140"/>
            <p:cNvCxnSpPr/>
            <p:nvPr userDrawn="1"/>
          </p:nvCxnSpPr>
          <p:spPr>
            <a:xfrm>
              <a:off x="-1620688" y="6441243"/>
              <a:ext cx="126014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Rechte verbindingslijn 141"/>
            <p:cNvCxnSpPr/>
            <p:nvPr userDrawn="1"/>
          </p:nvCxnSpPr>
          <p:spPr>
            <a:xfrm>
              <a:off x="4569333" y="-243408"/>
              <a:ext cx="0" cy="525658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Tijdelijke aanduiding voor verticale tekst 2"/>
          <p:cNvSpPr>
            <a:spLocks noGrp="1"/>
          </p:cNvSpPr>
          <p:nvPr>
            <p:ph type="body" orient="vert" idx="14" hasCustomPrompt="1"/>
          </p:nvPr>
        </p:nvSpPr>
        <p:spPr>
          <a:xfrm>
            <a:off x="4680012" y="1207371"/>
            <a:ext cx="4042898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51449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able / 50%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680001" y="1588160"/>
            <a:ext cx="4043375" cy="4875336"/>
          </a:xfrm>
        </p:spPr>
        <p:txBody>
          <a:bodyPr vert="horz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50% text / 50% table</a:t>
            </a:r>
          </a:p>
        </p:txBody>
      </p:sp>
      <p:sp>
        <p:nvSpPr>
          <p:cNvPr id="8" name="Tijdelijke aanduiding voor tabel 7"/>
          <p:cNvSpPr>
            <a:spLocks noGrp="1"/>
          </p:cNvSpPr>
          <p:nvPr>
            <p:ph type="tbl" sz="quarter" idx="16" hasCustomPrompt="1"/>
          </p:nvPr>
        </p:nvSpPr>
        <p:spPr>
          <a:xfrm>
            <a:off x="405584" y="1210970"/>
            <a:ext cx="4058416" cy="5232318"/>
          </a:xfrm>
        </p:spPr>
        <p:txBody>
          <a:bodyPr anchor="ctr"/>
          <a:lstStyle>
            <a:lvl1pPr algn="ctr">
              <a:lnSpc>
                <a:spcPct val="15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insert a table</a:t>
            </a:r>
          </a:p>
        </p:txBody>
      </p:sp>
      <p:sp>
        <p:nvSpPr>
          <p:cNvPr id="89" name="Tijdelijke aanduiding voor verticale tekst 2"/>
          <p:cNvSpPr>
            <a:spLocks noGrp="1"/>
          </p:cNvSpPr>
          <p:nvPr>
            <p:ph type="body" orient="vert" idx="14" hasCustomPrompt="1"/>
          </p:nvPr>
        </p:nvSpPr>
        <p:spPr>
          <a:xfrm>
            <a:off x="4680002" y="1206912"/>
            <a:ext cx="4042908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grpSp>
        <p:nvGrpSpPr>
          <p:cNvPr id="90" name="Groep 89" hidden="1"/>
          <p:cNvGrpSpPr/>
          <p:nvPr userDrawn="1"/>
        </p:nvGrpSpPr>
        <p:grpSpPr>
          <a:xfrm>
            <a:off x="-252536" y="522212"/>
            <a:ext cx="9505056" cy="6291164"/>
            <a:chOff x="-252536" y="522212"/>
            <a:chExt cx="9505056" cy="6291164"/>
          </a:xfrm>
        </p:grpSpPr>
        <p:cxnSp>
          <p:nvCxnSpPr>
            <p:cNvPr id="93" name="Rechte verbindingslijn 92"/>
            <p:cNvCxnSpPr/>
            <p:nvPr userDrawn="1"/>
          </p:nvCxnSpPr>
          <p:spPr>
            <a:xfrm>
              <a:off x="-252536" y="1155218"/>
              <a:ext cx="950505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Rechte verbindingslijn 93"/>
            <p:cNvCxnSpPr/>
            <p:nvPr userDrawn="1"/>
          </p:nvCxnSpPr>
          <p:spPr>
            <a:xfrm>
              <a:off x="-252536" y="1514371"/>
              <a:ext cx="950505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Rechte verbindingslijn 94"/>
            <p:cNvCxnSpPr/>
            <p:nvPr userDrawn="1"/>
          </p:nvCxnSpPr>
          <p:spPr>
            <a:xfrm flipH="1">
              <a:off x="8713032" y="522212"/>
              <a:ext cx="19754" cy="629116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Rechte verbindingslijn 99"/>
            <p:cNvCxnSpPr/>
            <p:nvPr userDrawn="1"/>
          </p:nvCxnSpPr>
          <p:spPr>
            <a:xfrm flipH="1">
              <a:off x="4549579" y="522212"/>
              <a:ext cx="19754" cy="629116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236793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100% table</a:t>
            </a:r>
          </a:p>
        </p:txBody>
      </p:sp>
      <p:sp>
        <p:nvSpPr>
          <p:cNvPr id="8" name="Tijdelijke aanduiding voor tabel 7"/>
          <p:cNvSpPr>
            <a:spLocks noGrp="1"/>
          </p:cNvSpPr>
          <p:nvPr>
            <p:ph type="tbl" sz="quarter" idx="16" hasCustomPrompt="1"/>
          </p:nvPr>
        </p:nvSpPr>
        <p:spPr>
          <a:xfrm>
            <a:off x="405584" y="1210970"/>
            <a:ext cx="8316592" cy="5252526"/>
          </a:xfrm>
        </p:spPr>
        <p:txBody>
          <a:bodyPr anchor="ctr"/>
          <a:lstStyle>
            <a:lvl1pPr algn="ctr">
              <a:lnSpc>
                <a:spcPct val="15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insert a table</a:t>
            </a:r>
          </a:p>
        </p:txBody>
      </p:sp>
    </p:spTree>
    <p:extLst>
      <p:ext uri="{BB962C8B-B14F-4D97-AF65-F5344CB8AC3E}">
        <p14:creationId xmlns:p14="http://schemas.microsoft.com/office/powerpoint/2010/main" val="8810492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824" y="820313"/>
            <a:ext cx="8327552" cy="2190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Index slide</a:t>
            </a:r>
          </a:p>
        </p:txBody>
      </p:sp>
      <p:sp>
        <p:nvSpPr>
          <p:cNvPr id="8" name="Tijdelijke aanduiding voor tabel 7"/>
          <p:cNvSpPr>
            <a:spLocks noGrp="1"/>
          </p:cNvSpPr>
          <p:nvPr>
            <p:ph type="tbl" sz="quarter" idx="16" hasCustomPrompt="1"/>
          </p:nvPr>
        </p:nvSpPr>
        <p:spPr>
          <a:xfrm>
            <a:off x="405584" y="1210970"/>
            <a:ext cx="8316592" cy="5252526"/>
          </a:xfrm>
        </p:spPr>
        <p:txBody>
          <a:bodyPr anchor="ctr"/>
          <a:lstStyle>
            <a:lvl1pPr algn="ctr">
              <a:lnSpc>
                <a:spcPct val="15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insert a table</a:t>
            </a:r>
          </a:p>
        </p:txBody>
      </p:sp>
      <p:grpSp>
        <p:nvGrpSpPr>
          <p:cNvPr id="57" name="Groep 56" hidden="1"/>
          <p:cNvGrpSpPr/>
          <p:nvPr userDrawn="1"/>
        </p:nvGrpSpPr>
        <p:grpSpPr>
          <a:xfrm>
            <a:off x="9369570" y="106472"/>
            <a:ext cx="2979308" cy="5917970"/>
            <a:chOff x="9234062" y="-92622"/>
            <a:chExt cx="2979308" cy="5917970"/>
          </a:xfrm>
        </p:grpSpPr>
        <p:sp>
          <p:nvSpPr>
            <p:cNvPr id="58" name="Tekstvak 33"/>
            <p:cNvSpPr txBox="1"/>
            <p:nvPr userDrawn="1"/>
          </p:nvSpPr>
          <p:spPr>
            <a:xfrm>
              <a:off x="9438352" y="896911"/>
              <a:ext cx="2067935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Delete </a:t>
              </a:r>
              <a:r>
                <a:rPr kumimoji="0" lang="nl-NL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existing</a:t>
              </a: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 picture </a:t>
              </a:r>
              <a:r>
                <a:rPr kumimoji="0" lang="nl-NL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and</a:t>
              </a: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 click on the icon </a:t>
              </a:r>
              <a:r>
                <a:rPr kumimoji="0" lang="nl-NL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to</a:t>
              </a: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 </a:t>
              </a:r>
              <a:r>
                <a:rPr kumimoji="0" lang="nl-NL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insert</a:t>
              </a: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 a new pictur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59" name="Tekstvak 33"/>
            <p:cNvSpPr txBox="1"/>
            <p:nvPr userDrawn="1"/>
          </p:nvSpPr>
          <p:spPr>
            <a:xfrm>
              <a:off x="9438352" y="3035943"/>
              <a:ext cx="2142447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Search and selected the picture you want.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Click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´Insert´</a:t>
              </a:r>
              <a:endParaRPr kumimoji="0" lang="nl-NL" sz="1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0" name="Ovaal 59"/>
            <p:cNvSpPr/>
            <p:nvPr userDrawn="1"/>
          </p:nvSpPr>
          <p:spPr>
            <a:xfrm>
              <a:off x="9395336" y="412895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rPr>
                <a:t>1</a:t>
              </a:r>
            </a:p>
          </p:txBody>
        </p:sp>
        <p:sp>
          <p:nvSpPr>
            <p:cNvPr id="61" name="Ovaal 60"/>
            <p:cNvSpPr/>
            <p:nvPr userDrawn="1"/>
          </p:nvSpPr>
          <p:spPr>
            <a:xfrm>
              <a:off x="9395336" y="2551354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rPr>
                <a:t>2</a:t>
              </a:r>
            </a:p>
          </p:txBody>
        </p:sp>
        <p:pic>
          <p:nvPicPr>
            <p:cNvPr id="62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9435801" y="3805970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6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9505259" y="3832640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64" name="Tekstvak 63"/>
            <p:cNvSpPr txBox="1"/>
            <p:nvPr userDrawn="1"/>
          </p:nvSpPr>
          <p:spPr>
            <a:xfrm>
              <a:off x="9517883" y="3832849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+mj-lt"/>
                </a:rPr>
                <a:t>Insert</a:t>
              </a:r>
            </a:p>
          </p:txBody>
        </p:sp>
        <p:sp>
          <p:nvSpPr>
            <p:cNvPr id="65" name="Rechthoek 64"/>
            <p:cNvSpPr/>
            <p:nvPr userDrawn="1"/>
          </p:nvSpPr>
          <p:spPr>
            <a:xfrm>
              <a:off x="9234062" y="-9262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630238" algn="l"/>
                </a:tabLst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INSERT PICTURE</a:t>
              </a:r>
            </a:p>
          </p:txBody>
        </p:sp>
        <p:cxnSp>
          <p:nvCxnSpPr>
            <p:cNvPr id="66" name="Rechte verbindingslijn 65"/>
            <p:cNvCxnSpPr/>
            <p:nvPr userDrawn="1"/>
          </p:nvCxnSpPr>
          <p:spPr>
            <a:xfrm>
              <a:off x="9407882" y="292364"/>
              <a:ext cx="28054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67" name="Rechte verbindingslijn 66"/>
            <p:cNvCxnSpPr/>
            <p:nvPr userDrawn="1"/>
          </p:nvCxnSpPr>
          <p:spPr>
            <a:xfrm>
              <a:off x="9407882" y="2365810"/>
              <a:ext cx="2805488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68" name="Rechte verbindingslijn 67"/>
            <p:cNvCxnSpPr/>
            <p:nvPr userDrawn="1"/>
          </p:nvCxnSpPr>
          <p:spPr>
            <a:xfrm>
              <a:off x="9408221" y="4238018"/>
              <a:ext cx="2805149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69" name="Tekstvak 33"/>
            <p:cNvSpPr txBox="1"/>
            <p:nvPr userDrawn="1"/>
          </p:nvSpPr>
          <p:spPr>
            <a:xfrm>
              <a:off x="9438352" y="4914683"/>
              <a:ext cx="2142447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Select the picture and select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Arial" pitchFamily="34" charset="0"/>
                </a:rPr>
                <a:t>‘Send to back’</a:t>
              </a:r>
            </a:p>
          </p:txBody>
        </p:sp>
        <p:sp>
          <p:nvSpPr>
            <p:cNvPr id="70" name="Ovaal 69"/>
            <p:cNvSpPr/>
            <p:nvPr userDrawn="1"/>
          </p:nvSpPr>
          <p:spPr>
            <a:xfrm>
              <a:off x="9395336" y="4426610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rPr>
                <a:t>3</a:t>
              </a:r>
            </a:p>
          </p:txBody>
        </p:sp>
        <p:pic>
          <p:nvPicPr>
            <p:cNvPr id="71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12" b="9320"/>
            <a:stretch/>
          </p:blipFill>
          <p:spPr bwMode="auto">
            <a:xfrm>
              <a:off x="9435801" y="5462154"/>
              <a:ext cx="2287853" cy="363194"/>
            </a:xfrm>
            <a:prstGeom prst="roundRect">
              <a:avLst>
                <a:gd name="adj" fmla="val 8018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2" name="Afbeelding 7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35801" y="1653232"/>
              <a:ext cx="610090" cy="61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35616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DA48DC-F9E6-49B2-B674-16DC4D151F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kstvak 7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Empty slide</a:t>
            </a:r>
          </a:p>
        </p:txBody>
      </p:sp>
    </p:spTree>
    <p:extLst>
      <p:ext uri="{BB962C8B-B14F-4D97-AF65-F5344CB8AC3E}">
        <p14:creationId xmlns:p14="http://schemas.microsoft.com/office/powerpoint/2010/main" val="8123705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05584" y="1210970"/>
            <a:ext cx="8316592" cy="5252525"/>
          </a:xfrm>
        </p:spPr>
        <p:txBody>
          <a:bodyPr vert="horz" rIns="5760000"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8" name="Tijdelijke aanduiding voor afbeelding 7"/>
          <p:cNvSpPr>
            <a:spLocks noGrp="1"/>
          </p:cNvSpPr>
          <p:nvPr>
            <p:ph type="pic" sz="quarter" idx="13" hasCustomPrompt="1"/>
          </p:nvPr>
        </p:nvSpPr>
        <p:spPr>
          <a:xfrm>
            <a:off x="3184653" y="1240734"/>
            <a:ext cx="5537524" cy="5200509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1514433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afbeelding 5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0160"/>
            <a:ext cx="9144001" cy="6878321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1500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53" name="Rechthoek 52"/>
          <p:cNvSpPr/>
          <p:nvPr userDrawn="1"/>
        </p:nvSpPr>
        <p:spPr>
          <a:xfrm>
            <a:off x="0" y="-16047"/>
            <a:ext cx="9144000" cy="2112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kstvak 7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Divider slide</a:t>
            </a:r>
          </a:p>
        </p:txBody>
      </p:sp>
      <p:sp>
        <p:nvSpPr>
          <p:cNvPr id="82" name="Tijdelijke aanduiding voor tekst 71"/>
          <p:cNvSpPr>
            <a:spLocks noGrp="1"/>
          </p:cNvSpPr>
          <p:nvPr>
            <p:ph type="body" sz="quarter" idx="15" hasCustomPrompt="1"/>
          </p:nvPr>
        </p:nvSpPr>
        <p:spPr>
          <a:xfrm>
            <a:off x="410884" y="2894661"/>
            <a:ext cx="8311292" cy="375952"/>
          </a:xfrm>
        </p:spPr>
        <p:txBody>
          <a:bodyPr rIns="0" bIns="0" anchor="b"/>
          <a:lstStyle>
            <a:lvl1pPr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Placeholder for a quote</a:t>
            </a:r>
          </a:p>
        </p:txBody>
      </p:sp>
      <p:sp>
        <p:nvSpPr>
          <p:cNvPr id="83" name="Tijdelijke aanduiding voor tekst 71"/>
          <p:cNvSpPr>
            <a:spLocks noGrp="1"/>
          </p:cNvSpPr>
          <p:nvPr>
            <p:ph type="body" sz="quarter" idx="16" hasCustomPrompt="1"/>
          </p:nvPr>
        </p:nvSpPr>
        <p:spPr>
          <a:xfrm>
            <a:off x="410884" y="6154256"/>
            <a:ext cx="8311292" cy="375952"/>
          </a:xfrm>
        </p:spPr>
        <p:txBody>
          <a:bodyPr rIns="0" bIns="0" anchor="ctr"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67587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ed bar - 10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05584" y="1586673"/>
            <a:ext cx="8318832" cy="4856613"/>
          </a:xfrm>
        </p:spPr>
        <p:txBody>
          <a:bodyPr vert="horz" tIns="108000" rIns="72000" bIns="72000"/>
          <a:lstStyle>
            <a:lvl2pPr>
              <a:defRPr/>
            </a:lvl2pPr>
            <a:lvl3pPr>
              <a:defRPr baseline="0"/>
            </a:lvl3pPr>
            <a:lvl4pPr>
              <a:defRPr baseline="0"/>
            </a:lvl4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E0908C-D037-4276-B023-3DE644EA2E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85056" y="-262268"/>
            <a:ext cx="24968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Colored bar - 100% text</a:t>
            </a:r>
          </a:p>
        </p:txBody>
      </p:sp>
      <p:sp>
        <p:nvSpPr>
          <p:cNvPr id="51" name="Tijdelijke aanduiding voor verticale tekst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146" y="1210043"/>
            <a:ext cx="8317230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63744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ed bars –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E0908C-D037-4276-B023-3DE644EA2E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85056" y="-262268"/>
            <a:ext cx="2064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Colored bars – Two columns</a:t>
            </a:r>
          </a:p>
        </p:txBody>
      </p:sp>
      <p:sp>
        <p:nvSpPr>
          <p:cNvPr id="78" name="Tijdelijke aanduiding voor verticale tekst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7670" y="1209040"/>
            <a:ext cx="4056330" cy="367613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102" name="Tijdelijke aanduiding voor verticale tekst 2"/>
          <p:cNvSpPr>
            <a:spLocks noGrp="1"/>
          </p:cNvSpPr>
          <p:nvPr>
            <p:ph type="body" orient="vert" idx="14" hasCustomPrompt="1"/>
          </p:nvPr>
        </p:nvSpPr>
        <p:spPr>
          <a:xfrm>
            <a:off x="405584" y="1586673"/>
            <a:ext cx="4055748" cy="4856615"/>
          </a:xfrm>
        </p:spPr>
        <p:txBody>
          <a:bodyPr vert="horz" tIns="108000" rIns="72000" bIns="72000"/>
          <a:lstStyle>
            <a:lvl3pPr>
              <a:defRPr/>
            </a:lvl3pPr>
            <a:lvl4pPr>
              <a:defRPr baseline="0"/>
            </a:lvl4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103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4680001" y="1586673"/>
            <a:ext cx="4044415" cy="4856615"/>
          </a:xfrm>
        </p:spPr>
        <p:txBody>
          <a:bodyPr vert="horz" tIns="108000" rIns="72000" bIns="72000"/>
          <a:lstStyle/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104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680001" y="1206912"/>
            <a:ext cx="4043375" cy="369741"/>
          </a:xfrm>
          <a:solidFill>
            <a:schemeClr val="accent2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458186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image / 75%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19849" y="1586672"/>
            <a:ext cx="5302327" cy="4876823"/>
          </a:xfrm>
        </p:spPr>
        <p:txBody>
          <a:bodyPr vert="horz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jdelijke aanduiding voor afbeelding 7"/>
          <p:cNvSpPr>
            <a:spLocks noGrp="1"/>
          </p:cNvSpPr>
          <p:nvPr>
            <p:ph type="pic" sz="quarter" idx="13" hasCustomPrompt="1"/>
          </p:nvPr>
        </p:nvSpPr>
        <p:spPr>
          <a:xfrm>
            <a:off x="405673" y="1210970"/>
            <a:ext cx="2798175" cy="5232860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75% text / 25% image</a:t>
            </a:r>
          </a:p>
        </p:txBody>
      </p:sp>
      <p:sp>
        <p:nvSpPr>
          <p:cNvPr id="73" name="Tijdelijke aanduiding voor verticale tekst 2"/>
          <p:cNvSpPr>
            <a:spLocks noGrp="1"/>
          </p:cNvSpPr>
          <p:nvPr>
            <p:ph type="body" orient="vert" idx="14" hasCustomPrompt="1"/>
          </p:nvPr>
        </p:nvSpPr>
        <p:spPr>
          <a:xfrm>
            <a:off x="3419848" y="1208259"/>
            <a:ext cx="5303527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16624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image /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680001" y="1586673"/>
            <a:ext cx="4042175" cy="4854569"/>
          </a:xfrm>
        </p:spPr>
        <p:txBody>
          <a:bodyPr vert="horz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jdelijke aanduiding voor afbeelding 7"/>
          <p:cNvSpPr>
            <a:spLocks noGrp="1"/>
          </p:cNvSpPr>
          <p:nvPr>
            <p:ph type="pic" sz="quarter" idx="13" hasCustomPrompt="1"/>
          </p:nvPr>
        </p:nvSpPr>
        <p:spPr>
          <a:xfrm>
            <a:off x="404681" y="1210970"/>
            <a:ext cx="4059319" cy="5252525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50% text / 50% image</a:t>
            </a:r>
          </a:p>
        </p:txBody>
      </p:sp>
      <p:sp>
        <p:nvSpPr>
          <p:cNvPr id="72" name="Tijdelijke aanduiding voor verticale tekst 2"/>
          <p:cNvSpPr>
            <a:spLocks noGrp="1"/>
          </p:cNvSpPr>
          <p:nvPr>
            <p:ph type="body" orient="vert" idx="14" hasCustomPrompt="1"/>
          </p:nvPr>
        </p:nvSpPr>
        <p:spPr>
          <a:xfrm>
            <a:off x="4680001" y="1208259"/>
            <a:ext cx="4043375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42568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image / 25%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6159320" y="1586673"/>
            <a:ext cx="2562856" cy="4876822"/>
          </a:xfrm>
        </p:spPr>
        <p:txBody>
          <a:bodyPr vert="horz" tIns="108000" rIns="72000" bIns="72000"/>
          <a:lstStyle/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jdelijke aanduiding voor afbeelding 7"/>
          <p:cNvSpPr>
            <a:spLocks noGrp="1"/>
          </p:cNvSpPr>
          <p:nvPr>
            <p:ph type="pic" sz="quarter" idx="13" hasCustomPrompt="1"/>
          </p:nvPr>
        </p:nvSpPr>
        <p:spPr>
          <a:xfrm>
            <a:off x="403086" y="1210970"/>
            <a:ext cx="5537066" cy="5225817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25% text / 75% image</a:t>
            </a:r>
          </a:p>
        </p:txBody>
      </p:sp>
      <p:sp>
        <p:nvSpPr>
          <p:cNvPr id="72" name="Tijdelijke aanduiding voor verticale tekst 2"/>
          <p:cNvSpPr>
            <a:spLocks noGrp="1"/>
          </p:cNvSpPr>
          <p:nvPr>
            <p:ph type="body" orient="vert" idx="14" hasCustomPrompt="1"/>
          </p:nvPr>
        </p:nvSpPr>
        <p:spPr>
          <a:xfrm>
            <a:off x="6156153" y="1208259"/>
            <a:ext cx="2567223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72845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/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680000" y="1586673"/>
            <a:ext cx="4042176" cy="2150301"/>
          </a:xfrm>
        </p:spPr>
        <p:txBody>
          <a:bodyPr vert="horz" lIns="0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jdelijke aanduiding voor afbeelding 7"/>
          <p:cNvSpPr>
            <a:spLocks noGrp="1"/>
          </p:cNvSpPr>
          <p:nvPr>
            <p:ph type="pic" sz="quarter" idx="13" hasCustomPrompt="1"/>
          </p:nvPr>
        </p:nvSpPr>
        <p:spPr>
          <a:xfrm>
            <a:off x="405169" y="3948988"/>
            <a:ext cx="4058831" cy="2514507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15665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50% text / Two images</a:t>
            </a:r>
          </a:p>
        </p:txBody>
      </p:sp>
      <p:sp>
        <p:nvSpPr>
          <p:cNvPr id="119" name="Tijdelijke aanduiding voor afbeelding 7"/>
          <p:cNvSpPr>
            <a:spLocks noGrp="1"/>
          </p:cNvSpPr>
          <p:nvPr>
            <p:ph type="pic" sz="quarter" idx="14" hasCustomPrompt="1"/>
          </p:nvPr>
        </p:nvSpPr>
        <p:spPr>
          <a:xfrm>
            <a:off x="402501" y="1210969"/>
            <a:ext cx="4061499" cy="2526005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275" name="Tijdelijke aanduiding voor verticale tekst 2"/>
          <p:cNvSpPr>
            <a:spLocks noGrp="1"/>
          </p:cNvSpPr>
          <p:nvPr>
            <p:ph type="body" orient="vert" idx="15" hasCustomPrompt="1"/>
          </p:nvPr>
        </p:nvSpPr>
        <p:spPr>
          <a:xfrm>
            <a:off x="4680000" y="4329596"/>
            <a:ext cx="4042176" cy="2111647"/>
          </a:xfrm>
        </p:spPr>
        <p:txBody>
          <a:bodyPr vert="horz" lIns="0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76" name="Tijdelijke aanduiding voor verticale tekst 2"/>
          <p:cNvSpPr>
            <a:spLocks noGrp="1"/>
          </p:cNvSpPr>
          <p:nvPr>
            <p:ph type="body" orient="vert" idx="16" hasCustomPrompt="1"/>
          </p:nvPr>
        </p:nvSpPr>
        <p:spPr>
          <a:xfrm>
            <a:off x="4680000" y="1207371"/>
            <a:ext cx="4043376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77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4680001" y="3950331"/>
            <a:ext cx="4043376" cy="369741"/>
          </a:xfrm>
          <a:solidFill>
            <a:schemeClr val="accent2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2235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/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680000" y="1588160"/>
            <a:ext cx="4042176" cy="1240582"/>
          </a:xfrm>
        </p:spPr>
        <p:txBody>
          <a:bodyPr vert="horz" lIns="0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, change Insert &gt;&gt; Header &amp; Footer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61DF0-078F-4286-9355-A91B2CE6AC5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kstvak 14"/>
          <p:cNvSpPr txBox="1"/>
          <p:nvPr userDrawn="1"/>
        </p:nvSpPr>
        <p:spPr>
          <a:xfrm>
            <a:off x="-85056" y="-262268"/>
            <a:ext cx="2064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lvl="0">
              <a:defRPr sz="1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50% text / Three images</a:t>
            </a:r>
          </a:p>
        </p:txBody>
      </p:sp>
      <p:sp>
        <p:nvSpPr>
          <p:cNvPr id="119" name="Tijdelijke aanduiding voor afbeelding 7"/>
          <p:cNvSpPr>
            <a:spLocks noGrp="1"/>
          </p:cNvSpPr>
          <p:nvPr>
            <p:ph type="pic" sz="quarter" idx="14" hasCustomPrompt="1"/>
          </p:nvPr>
        </p:nvSpPr>
        <p:spPr>
          <a:xfrm>
            <a:off x="405584" y="1210970"/>
            <a:ext cx="4058416" cy="1606842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124" name="Tijdelijke aanduiding voor afbeelding 7"/>
          <p:cNvSpPr>
            <a:spLocks noGrp="1"/>
          </p:cNvSpPr>
          <p:nvPr>
            <p:ph type="pic" sz="quarter" idx="15" hasCustomPrompt="1"/>
          </p:nvPr>
        </p:nvSpPr>
        <p:spPr>
          <a:xfrm>
            <a:off x="405584" y="3033812"/>
            <a:ext cx="4058416" cy="1601182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125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05584" y="4856655"/>
            <a:ext cx="4058416" cy="1606841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insert a picture</a:t>
            </a:r>
          </a:p>
        </p:txBody>
      </p:sp>
      <p:sp>
        <p:nvSpPr>
          <p:cNvPr id="278" name="Tijdelijke aanduiding voor verticale tekst 2"/>
          <p:cNvSpPr>
            <a:spLocks noGrp="1"/>
          </p:cNvSpPr>
          <p:nvPr>
            <p:ph type="body" orient="vert" idx="17" hasCustomPrompt="1"/>
          </p:nvPr>
        </p:nvSpPr>
        <p:spPr>
          <a:xfrm>
            <a:off x="4680000" y="3429000"/>
            <a:ext cx="4042176" cy="1205993"/>
          </a:xfrm>
        </p:spPr>
        <p:txBody>
          <a:bodyPr vert="horz" lIns="0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279" name="Tijdelijke aanduiding voor verticale tekst 2"/>
          <p:cNvSpPr>
            <a:spLocks noGrp="1"/>
          </p:cNvSpPr>
          <p:nvPr>
            <p:ph type="body" orient="vert" idx="18" hasCustomPrompt="1"/>
          </p:nvPr>
        </p:nvSpPr>
        <p:spPr>
          <a:xfrm>
            <a:off x="4680000" y="5229200"/>
            <a:ext cx="4042176" cy="1212044"/>
          </a:xfrm>
        </p:spPr>
        <p:txBody>
          <a:bodyPr vert="horz" lIns="0" tIns="108000" rIns="72000" bIns="72000"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sp>
        <p:nvSpPr>
          <p:cNvPr id="129" name="Tijdelijke aanduiding voor verticale tekst 2"/>
          <p:cNvSpPr>
            <a:spLocks noGrp="1"/>
          </p:cNvSpPr>
          <p:nvPr>
            <p:ph type="body" orient="vert" idx="19" hasCustomPrompt="1"/>
          </p:nvPr>
        </p:nvSpPr>
        <p:spPr>
          <a:xfrm>
            <a:off x="4680001" y="1207371"/>
            <a:ext cx="4043376" cy="369741"/>
          </a:xfrm>
          <a:solidFill>
            <a:schemeClr val="accent1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130" name="Tijdelijke aanduiding voor verticale tekst 2"/>
          <p:cNvSpPr>
            <a:spLocks noGrp="1"/>
          </p:cNvSpPr>
          <p:nvPr>
            <p:ph type="body" orient="vert" idx="20" hasCustomPrompt="1"/>
          </p:nvPr>
        </p:nvSpPr>
        <p:spPr>
          <a:xfrm>
            <a:off x="4680001" y="3038939"/>
            <a:ext cx="4043375" cy="369741"/>
          </a:xfrm>
          <a:solidFill>
            <a:schemeClr val="accent2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21" hasCustomPrompt="1"/>
          </p:nvPr>
        </p:nvSpPr>
        <p:spPr>
          <a:xfrm>
            <a:off x="4680000" y="4859000"/>
            <a:ext cx="4043375" cy="369741"/>
          </a:xfrm>
          <a:solidFill>
            <a:schemeClr val="accent3"/>
          </a:solidFill>
        </p:spPr>
        <p:txBody>
          <a:bodyPr vert="horz" wrap="none" lIns="180000" tIns="72000" rIns="216000" anchor="ctr"/>
          <a:lstStyle>
            <a:lvl1pPr>
              <a:defRPr b="1">
                <a:solidFill>
                  <a:schemeClr val="bg1"/>
                </a:solidFill>
              </a:defRPr>
            </a:lvl1pPr>
            <a:lvl3pPr>
              <a:defRPr/>
            </a:lvl3pPr>
            <a:lvl4pPr>
              <a:defRPr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43598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95824" y="820313"/>
            <a:ext cx="8327552" cy="2190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05584" y="1210970"/>
            <a:ext cx="8342880" cy="5252525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  <a:p>
            <a:pPr lvl="5"/>
            <a:r>
              <a:rPr lang="nl-NL" dirty="0"/>
              <a:t>Second level</a:t>
            </a:r>
          </a:p>
          <a:p>
            <a:pPr lvl="6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7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7"/>
            <a:endParaRPr lang="nl-NL" dirty="0"/>
          </a:p>
          <a:p>
            <a:pPr lvl="4"/>
            <a:endParaRPr lang="en-US" dirty="0"/>
          </a:p>
        </p:txBody>
      </p:sp>
      <p:sp>
        <p:nvSpPr>
          <p:cNvPr id="8" name="Rechthoek 7"/>
          <p:cNvSpPr/>
          <p:nvPr/>
        </p:nvSpPr>
        <p:spPr>
          <a:xfrm>
            <a:off x="415290" y="414212"/>
            <a:ext cx="8308086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31" name="Groep 30" hidden="1"/>
          <p:cNvGrpSpPr/>
          <p:nvPr/>
        </p:nvGrpSpPr>
        <p:grpSpPr>
          <a:xfrm>
            <a:off x="-705266" y="23436"/>
            <a:ext cx="3703736" cy="2789305"/>
            <a:chOff x="-705266" y="23436"/>
            <a:chExt cx="3703736" cy="2789305"/>
          </a:xfrm>
        </p:grpSpPr>
        <p:cxnSp>
          <p:nvCxnSpPr>
            <p:cNvPr id="25" name="Rechte verbindingslijn 24"/>
            <p:cNvCxnSpPr/>
            <p:nvPr userDrawn="1"/>
          </p:nvCxnSpPr>
          <p:spPr bwMode="auto">
            <a:xfrm>
              <a:off x="407254" y="23436"/>
              <a:ext cx="0" cy="2789305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9999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Rechte verbindingslijn 25"/>
            <p:cNvCxnSpPr/>
            <p:nvPr userDrawn="1"/>
          </p:nvCxnSpPr>
          <p:spPr bwMode="auto">
            <a:xfrm flipH="1">
              <a:off x="-705266" y="854401"/>
              <a:ext cx="37037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9999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Rechte verbindingslijn 26"/>
            <p:cNvCxnSpPr/>
            <p:nvPr userDrawn="1"/>
          </p:nvCxnSpPr>
          <p:spPr bwMode="auto">
            <a:xfrm flipH="1">
              <a:off x="-705266" y="1073476"/>
              <a:ext cx="37037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9999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Rechte verbindingslijn 27"/>
            <p:cNvCxnSpPr/>
            <p:nvPr userDrawn="1"/>
          </p:nvCxnSpPr>
          <p:spPr bwMode="auto">
            <a:xfrm flipH="1">
              <a:off x="-705266" y="1250260"/>
              <a:ext cx="37037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9999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Rechte verbindingslijn 28"/>
            <p:cNvCxnSpPr/>
            <p:nvPr userDrawn="1"/>
          </p:nvCxnSpPr>
          <p:spPr bwMode="auto">
            <a:xfrm flipH="1">
              <a:off x="-705266" y="1712117"/>
              <a:ext cx="37037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9999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Rechte verbindingslijn 29"/>
            <p:cNvCxnSpPr/>
            <p:nvPr userDrawn="1"/>
          </p:nvCxnSpPr>
          <p:spPr bwMode="auto">
            <a:xfrm flipH="1">
              <a:off x="-705266" y="1911087"/>
              <a:ext cx="37037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9999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5673" y="414212"/>
            <a:ext cx="3582643" cy="216000"/>
          </a:xfrm>
          <a:prstGeom prst="rect">
            <a:avLst/>
          </a:prstGeom>
        </p:spPr>
        <p:txBody>
          <a:bodyPr vert="horz" lIns="72000" tIns="0" rIns="0" bIns="0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Presentation title, change Insert &gt;&gt; Header &amp; Footer</a:t>
            </a:r>
            <a:endParaRPr lang="en-GB" dirty="0"/>
          </a:p>
        </p:txBody>
      </p:sp>
      <p:sp>
        <p:nvSpPr>
          <p:cNvPr id="35" name="Tekstvak 34"/>
          <p:cNvSpPr txBox="1"/>
          <p:nvPr/>
        </p:nvSpPr>
        <p:spPr>
          <a:xfrm>
            <a:off x="3923928" y="414213"/>
            <a:ext cx="1296144" cy="216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n-lt"/>
              </a:rPr>
              <a:t>Tata Steel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98532" y="414213"/>
            <a:ext cx="262944" cy="216000"/>
          </a:xfrm>
          <a:prstGeom prst="rect">
            <a:avLst/>
          </a:prstGeom>
        </p:spPr>
        <p:txBody>
          <a:bodyPr vert="horz" lIns="0" tIns="45720" rIns="72000" bIns="45720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Tekstvak 35"/>
          <p:cNvSpPr txBox="1"/>
          <p:nvPr/>
        </p:nvSpPr>
        <p:spPr>
          <a:xfrm>
            <a:off x="8130824" y="434985"/>
            <a:ext cx="504056" cy="1744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+mn-lt"/>
              </a:rPr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371302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14" r:id="rId2"/>
    <p:sldLayoutId id="2147483724" r:id="rId3"/>
    <p:sldLayoutId id="2147483713" r:id="rId4"/>
    <p:sldLayoutId id="2147483686" r:id="rId5"/>
    <p:sldLayoutId id="2147483685" r:id="rId6"/>
    <p:sldLayoutId id="2147483682" r:id="rId7"/>
    <p:sldLayoutId id="2147483716" r:id="rId8"/>
    <p:sldLayoutId id="2147483717" r:id="rId9"/>
    <p:sldLayoutId id="2147483698" r:id="rId10"/>
    <p:sldLayoutId id="2147483699" r:id="rId11"/>
    <p:sldLayoutId id="2147483700" r:id="rId12"/>
    <p:sldLayoutId id="2147483719" r:id="rId13"/>
    <p:sldLayoutId id="2147483720" r:id="rId14"/>
    <p:sldLayoutId id="2147483697" r:id="rId15"/>
    <p:sldLayoutId id="2147483721" r:id="rId16"/>
  </p:sldLayoutIdLst>
  <p:hf hdr="0" dt="0"/>
  <p:txStyles>
    <p:titleStyle>
      <a:lvl1pPr algn="l" defTabSz="914400" rtl="0" eaLnBrk="1" latinLnBrk="0" hangingPunct="1">
        <a:lnSpc>
          <a:spcPts val="1600"/>
        </a:lnSpc>
        <a:spcBef>
          <a:spcPts val="600"/>
        </a:spcBef>
        <a:spcAft>
          <a:spcPts val="600"/>
        </a:spcAft>
        <a:buNone/>
        <a:defRPr sz="18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74625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82563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600" i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563" indent="-182563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" indent="-173038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tabLst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8163" indent="-182563" algn="l" defTabSz="914400" rtl="0" eaLnBrk="1" latinLnBrk="0" hangingPunct="1">
        <a:lnSpc>
          <a:spcPts val="1800"/>
        </a:lnSpc>
        <a:spcBef>
          <a:spcPts val="60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844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844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Simplified Group Structure TSL (India) to TSUK</a:t>
            </a:r>
            <a:br>
              <a:rPr lang="en-GB" dirty="0"/>
            </a:br>
            <a:endParaRPr lang="en-GB" dirty="0"/>
          </a:p>
        </p:txBody>
      </p:sp>
      <p:sp>
        <p:nvSpPr>
          <p:cNvPr id="23" name="Rectangle 22"/>
          <p:cNvSpPr/>
          <p:nvPr/>
        </p:nvSpPr>
        <p:spPr>
          <a:xfrm>
            <a:off x="3549568" y="1081184"/>
            <a:ext cx="2057401" cy="35464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 Steel Limited (TSL) </a:t>
            </a:r>
          </a:p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ia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543300" y="2117373"/>
            <a:ext cx="2057400" cy="3152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mediate Ent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43300" y="1628800"/>
            <a:ext cx="2057400" cy="2077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750" dirty="0">
                <a:latin typeface="Arial" panose="020B0604020202020204" pitchFamily="34" charset="0"/>
                <a:cs typeface="Arial" panose="020B0604020202020204" pitchFamily="34" charset="0"/>
              </a:rPr>
              <a:t>Intermediate Entity </a:t>
            </a:r>
          </a:p>
        </p:txBody>
      </p:sp>
      <p:sp>
        <p:nvSpPr>
          <p:cNvPr id="107" name="Rectangle 106"/>
          <p:cNvSpPr/>
          <p:nvPr/>
        </p:nvSpPr>
        <p:spPr>
          <a:xfrm rot="10800000" flipV="1">
            <a:off x="3536999" y="2626701"/>
            <a:ext cx="2069970" cy="39386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 Steel Europe Limited (TSE</a:t>
            </a: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ngland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3BE055-226B-4119-AC2D-36CEA85C4100}"/>
              </a:ext>
            </a:extLst>
          </p:cNvPr>
          <p:cNvSpPr/>
          <p:nvPr/>
        </p:nvSpPr>
        <p:spPr>
          <a:xfrm>
            <a:off x="3536999" y="3789040"/>
            <a:ext cx="2057399" cy="405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mediate 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26F8A67-B2C2-4A4F-95C4-21FCFE2B41C4}"/>
              </a:ext>
            </a:extLst>
          </p:cNvPr>
          <p:cNvSpPr/>
          <p:nvPr/>
        </p:nvSpPr>
        <p:spPr>
          <a:xfrm>
            <a:off x="3536999" y="4365104"/>
            <a:ext cx="2057399" cy="405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 Steel UK Holdings Limited  (England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7EDBD3D-483F-4348-B0FB-6EE3E34CE8C5}"/>
              </a:ext>
            </a:extLst>
          </p:cNvPr>
          <p:cNvSpPr/>
          <p:nvPr/>
        </p:nvSpPr>
        <p:spPr>
          <a:xfrm>
            <a:off x="3536999" y="4941168"/>
            <a:ext cx="2057399" cy="405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 Steel Netherlands Holdings BV (Netherlands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D39789F-7678-45E7-81FF-20BA44BEA62C}"/>
              </a:ext>
            </a:extLst>
          </p:cNvPr>
          <p:cNvSpPr/>
          <p:nvPr/>
        </p:nvSpPr>
        <p:spPr>
          <a:xfrm>
            <a:off x="3536999" y="5517232"/>
            <a:ext cx="2057399" cy="405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GB" sz="750" dirty="0">
                <a:solidFill>
                  <a:schemeClr val="tx1"/>
                </a:solidFill>
              </a:rPr>
              <a:t>Corus Group Limited</a:t>
            </a:r>
          </a:p>
          <a:p>
            <a:pPr algn="ctr"/>
            <a:r>
              <a:rPr lang="en-GB" sz="750" dirty="0">
                <a:solidFill>
                  <a:schemeClr val="tx1"/>
                </a:solidFill>
              </a:rPr>
              <a:t>(England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C9C2436-BF8B-4F3F-8AEE-06F4F8DB14F5}"/>
              </a:ext>
            </a:extLst>
          </p:cNvPr>
          <p:cNvSpPr/>
          <p:nvPr/>
        </p:nvSpPr>
        <p:spPr>
          <a:xfrm>
            <a:off x="5724128" y="6336368"/>
            <a:ext cx="2044829" cy="405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953" tIns="953" rIns="953" bIns="953" numCol="1" spcCol="1270" anchor="ctr" anchorCtr="0">
            <a:noAutofit/>
          </a:bodyPr>
          <a:lstStyle/>
          <a:p>
            <a:pPr algn="ctr" defTabSz="5000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 Steel UK Limited (England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91AE55D-DD21-4968-A048-18E0AA584B39}"/>
              </a:ext>
            </a:extLst>
          </p:cNvPr>
          <p:cNvSpPr txBox="1"/>
          <p:nvPr/>
        </p:nvSpPr>
        <p:spPr>
          <a:xfrm>
            <a:off x="3536998" y="3245576"/>
            <a:ext cx="2057399" cy="2077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750" dirty="0">
                <a:latin typeface="Arial" panose="020B0604020202020204" pitchFamily="34" charset="0"/>
                <a:cs typeface="Arial" panose="020B0604020202020204" pitchFamily="34" charset="0"/>
              </a:rPr>
              <a:t>Intermediate Entity</a:t>
            </a:r>
            <a:endParaRPr lang="en-GB" sz="75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17E902-72BA-4926-B81C-27B747C884C0}"/>
              </a:ext>
            </a:extLst>
          </p:cNvPr>
          <p:cNvCxnSpPr>
            <a:cxnSpLocks/>
            <a:stCxn id="23" idx="2"/>
            <a:endCxn id="5" idx="0"/>
          </p:cNvCxnSpPr>
          <p:nvPr/>
        </p:nvCxnSpPr>
        <p:spPr>
          <a:xfrm flipH="1">
            <a:off x="4572000" y="1435826"/>
            <a:ext cx="6269" cy="19297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CB05BF3-950C-4B7D-8381-54D1E462B2F7}"/>
              </a:ext>
            </a:extLst>
          </p:cNvPr>
          <p:cNvCxnSpPr>
            <a:stCxn id="5" idx="2"/>
            <a:endCxn id="19" idx="0"/>
          </p:cNvCxnSpPr>
          <p:nvPr/>
        </p:nvCxnSpPr>
        <p:spPr>
          <a:xfrm>
            <a:off x="4572000" y="1836549"/>
            <a:ext cx="0" cy="2808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CC5D55D-C464-48C2-B16B-56599DED222F}"/>
              </a:ext>
            </a:extLst>
          </p:cNvPr>
          <p:cNvCxnSpPr>
            <a:cxnSpLocks/>
            <a:stCxn id="19" idx="2"/>
            <a:endCxn id="107" idx="0"/>
          </p:cNvCxnSpPr>
          <p:nvPr/>
        </p:nvCxnSpPr>
        <p:spPr>
          <a:xfrm flipH="1">
            <a:off x="4571984" y="2432671"/>
            <a:ext cx="16" cy="19403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4BA7211-D12C-40DA-BFE7-8D3DF6254412}"/>
              </a:ext>
            </a:extLst>
          </p:cNvPr>
          <p:cNvCxnSpPr>
            <a:cxnSpLocks/>
            <a:stCxn id="107" idx="2"/>
            <a:endCxn id="49" idx="0"/>
          </p:cNvCxnSpPr>
          <p:nvPr/>
        </p:nvCxnSpPr>
        <p:spPr>
          <a:xfrm flipH="1">
            <a:off x="4565698" y="3020565"/>
            <a:ext cx="6286" cy="22501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361EBBC-FA84-4441-9415-FCAC9680CC61}"/>
              </a:ext>
            </a:extLst>
          </p:cNvPr>
          <p:cNvCxnSpPr>
            <a:cxnSpLocks/>
            <a:stCxn id="49" idx="2"/>
            <a:endCxn id="43" idx="0"/>
          </p:cNvCxnSpPr>
          <p:nvPr/>
        </p:nvCxnSpPr>
        <p:spPr>
          <a:xfrm>
            <a:off x="4565698" y="3453325"/>
            <a:ext cx="1" cy="33571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17FA90-9690-44CB-9917-9E59879599DA}"/>
              </a:ext>
            </a:extLst>
          </p:cNvPr>
          <p:cNvCxnSpPr>
            <a:stCxn id="43" idx="2"/>
            <a:endCxn id="44" idx="0"/>
          </p:cNvCxnSpPr>
          <p:nvPr/>
        </p:nvCxnSpPr>
        <p:spPr>
          <a:xfrm>
            <a:off x="4565699" y="4194040"/>
            <a:ext cx="0" cy="171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6478138-2A7A-41B4-B319-C5C700F36295}"/>
              </a:ext>
            </a:extLst>
          </p:cNvPr>
          <p:cNvCxnSpPr>
            <a:stCxn id="44" idx="2"/>
            <a:endCxn id="45" idx="0"/>
          </p:cNvCxnSpPr>
          <p:nvPr/>
        </p:nvCxnSpPr>
        <p:spPr>
          <a:xfrm>
            <a:off x="4565699" y="4770104"/>
            <a:ext cx="0" cy="171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F258AA4D-160F-462E-BC96-C0F99EFA2FDD}"/>
              </a:ext>
            </a:extLst>
          </p:cNvPr>
          <p:cNvCxnSpPr>
            <a:stCxn id="45" idx="2"/>
            <a:endCxn id="46" idx="0"/>
          </p:cNvCxnSpPr>
          <p:nvPr/>
        </p:nvCxnSpPr>
        <p:spPr>
          <a:xfrm>
            <a:off x="4565699" y="5346168"/>
            <a:ext cx="0" cy="171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D4AABFF7-E092-4152-B83D-886AC803DC70}"/>
              </a:ext>
            </a:extLst>
          </p:cNvPr>
          <p:cNvCxnSpPr>
            <a:stCxn id="46" idx="2"/>
            <a:endCxn id="47" idx="1"/>
          </p:cNvCxnSpPr>
          <p:nvPr/>
        </p:nvCxnSpPr>
        <p:spPr>
          <a:xfrm rot="16200000" flipH="1">
            <a:off x="4836595" y="5651335"/>
            <a:ext cx="616636" cy="1158429"/>
          </a:xfrm>
          <a:prstGeom prst="bentConnector2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EAE8882-CA7C-4F10-A775-737288707B11}"/>
              </a:ext>
            </a:extLst>
          </p:cNvPr>
          <p:cNvCxnSpPr>
            <a:stCxn id="44" idx="3"/>
            <a:endCxn id="47" idx="0"/>
          </p:cNvCxnSpPr>
          <p:nvPr/>
        </p:nvCxnSpPr>
        <p:spPr>
          <a:xfrm>
            <a:off x="5594398" y="4567604"/>
            <a:ext cx="1152145" cy="1768764"/>
          </a:xfrm>
          <a:prstGeom prst="bentConnector2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345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7b7555ad117869fa7ae8d9b9eca36e40a121"/>
  <p:tag name="ISPRING_RESOURCE_PATHS_HASH_PRESENTER" val="ac5e5df32084aab57e8a7a5e48fe881246ee42f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Tata Steel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BEB9A6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3D7EDB"/>
      </a:hlink>
      <a:folHlink>
        <a:srgbClr val="5A245A"/>
      </a:folHlink>
    </a:clrScheme>
    <a:fontScheme name="Tata Ste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149169B8-DF29-4A0F-98EF-FBAF4392974E}" vid="{6AC9A526-9A91-420E-B62A-57A28A46F265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280E48E807ED4AA4BA7BE40CA69573" ma:contentTypeVersion="14" ma:contentTypeDescription="Create a new document." ma:contentTypeScope="" ma:versionID="41ea01d1926dcfac1ce170f61d45a062">
  <xsd:schema xmlns:xsd="http://www.w3.org/2001/XMLSchema" xmlns:xs="http://www.w3.org/2001/XMLSchema" xmlns:p="http://schemas.microsoft.com/office/2006/metadata/properties" xmlns:ns1="http://schemas.microsoft.com/sharepoint/v3" xmlns:ns2="ef760887-92d3-413b-b11d-236601df688e" xmlns:ns3="e30f7a5d-8fa8-41c9-ac7a-9b097ed4b6af" targetNamespace="http://schemas.microsoft.com/office/2006/metadata/properties" ma:root="true" ma:fieldsID="0f615fc2b09bf667a7b594565d090f0d" ns1:_="" ns2:_="" ns3:_="">
    <xsd:import namespace="http://schemas.microsoft.com/sharepoint/v3"/>
    <xsd:import namespace="ef760887-92d3-413b-b11d-236601df688e"/>
    <xsd:import namespace="e30f7a5d-8fa8-41c9-ac7a-9b097ed4b6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760887-92d3-413b-b11d-236601df68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e40df2b-c156-4e70-b773-96d34ab370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0f7a5d-8fa8-41c9-ac7a-9b097ed4b6a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49e4df2-fc7b-40ef-a90a-380ef4425123}" ma:internalName="TaxCatchAll" ma:showField="CatchAllData" ma:web="e30f7a5d-8fa8-41c9-ac7a-9b097ed4b6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30f7a5d-8fa8-41c9-ac7a-9b097ed4b6af">
      <Value>33</Value>
      <Value>32</Value>
      <Value>31</Value>
      <Value>30</Value>
      <Value>27</Value>
      <Value>86</Value>
    </TaxCatchAll>
    <_ip_UnifiedCompliancePolicyUIAction xmlns="http://schemas.microsoft.com/sharepoint/v3" xsi:nil="true"/>
    <lcf76f155ced4ddcb4097134ff3c332f xmlns="ef760887-92d3-413b-b11d-236601df688e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6e40df2b-c156-4e70-b773-96d34ab3705a" ContentTypeId="0x010100BD08157E53159745B5B23790F58509580C" PreviousValue="false"/>
</file>

<file path=customXml/itemProps1.xml><?xml version="1.0" encoding="utf-8"?>
<ds:datastoreItem xmlns:ds="http://schemas.openxmlformats.org/officeDocument/2006/customXml" ds:itemID="{5BE28AAC-E0F0-4688-BFB0-1FF6A75C1A79}"/>
</file>

<file path=customXml/itemProps2.xml><?xml version="1.0" encoding="utf-8"?>
<ds:datastoreItem xmlns:ds="http://schemas.openxmlformats.org/officeDocument/2006/customXml" ds:itemID="{4A41DCA4-BB1F-4F97-8C8D-C353BE1785F0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00567f14-8aaf-46bf-a8c0-ab54c52500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FA29A8C-81F2-431F-B9BE-CA8419C233D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1E9D313-15CB-49FC-A543-78F48AB3D9BC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6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Corporate template-set Tata Steel</vt:lpstr>
      <vt:lpstr>think-cell Slide</vt:lpstr>
      <vt:lpstr> Simplified Group Structure TSL (India) to TSUK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plified Group Structure TSL (India) to TSUK</dc:title>
  <dc:creator>Griffiths, Lisa</dc:creator>
  <cp:lastModifiedBy>Syme, Lyall</cp:lastModifiedBy>
  <cp:revision>4</cp:revision>
  <dcterms:created xsi:type="dcterms:W3CDTF">2020-07-09T13:28:02Z</dcterms:created>
  <dcterms:modified xsi:type="dcterms:W3CDTF">2020-08-04T13:41:13Z</dcterms:modified>
  <dc:language>NL-NL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280E48E807ED4AA4BA7BE40CA69573</vt:lpwstr>
  </property>
  <property fmtid="{D5CDD505-2E9C-101B-9397-08002B2CF9AE}" pid="3" name="CaseCountry">
    <vt:lpwstr>31;#China|450f57c4-d239-451b-a905-81825d5a728d;#33;#Russia|0ecf037e-06ce-4a51-8c39-f88a8482bd44;#32;#Belarus|364eb362-0454-4ff3-9088-530c020db427</vt:lpwstr>
  </property>
  <property fmtid="{D5CDD505-2E9C-101B-9397-08002B2CF9AE}" pid="4" name="CaseType">
    <vt:lpwstr>30;#Transition Anti-Dumping Review|56eec00b-c93f-447c-870b-d62b9d7130e2</vt:lpwstr>
  </property>
  <property fmtid="{D5CDD505-2E9C-101B-9397-08002B2CF9AE}" pid="5" name="CaseProduct">
    <vt:lpwstr>27;#Welded Tubes|2c49d387-4c2f-4fdb-b864-996ddc853abb</vt:lpwstr>
  </property>
  <property fmtid="{D5CDD505-2E9C-101B-9397-08002B2CF9AE}" pid="6" name="RelatedCountry">
    <vt:lpwstr/>
  </property>
  <property fmtid="{D5CDD505-2E9C-101B-9397-08002B2CF9AE}" pid="7" name="DocumentType">
    <vt:lpwstr>86;#QR Section A|17b3f02d-48b5-4eea-bc9c-10e1f5981c85</vt:lpwstr>
  </property>
</Properties>
</file>